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71" r:id="rId4"/>
    <p:sldId id="258" r:id="rId5"/>
    <p:sldId id="270" r:id="rId6"/>
    <p:sldId id="273" r:id="rId7"/>
    <p:sldId id="261" r:id="rId8"/>
    <p:sldId id="276" r:id="rId9"/>
    <p:sldId id="275" r:id="rId10"/>
    <p:sldId id="265" r:id="rId11"/>
    <p:sldId id="274" r:id="rId12"/>
    <p:sldId id="267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84"/>
    <p:restoredTop sz="94648"/>
  </p:normalViewPr>
  <p:slideViewPr>
    <p:cSldViewPr snapToGrid="0">
      <p:cViewPr>
        <p:scale>
          <a:sx n="100" d="100"/>
          <a:sy n="100" d="100"/>
        </p:scale>
        <p:origin x="144" y="416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05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5233F-BBC3-6E52-1B05-27674F66C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52D6DD2-A378-472C-5DB2-9FAA763A69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E6880F8-1132-6808-9571-01AF7AA551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D79C41-BA14-8395-DE81-9095B648EC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870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05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2.jpg"/><Relationship Id="rId4" Type="http://schemas.openxmlformats.org/officeDocument/2006/relationships/image" Target="../media/image5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57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56.png"/><Relationship Id="rId5" Type="http://schemas.openxmlformats.org/officeDocument/2006/relationships/image" Target="../media/image6.png"/><Relationship Id="rId4" Type="http://schemas.openxmlformats.org/officeDocument/2006/relationships/image" Target="../media/image5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6.svg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25.png"/><Relationship Id="rId18" Type="http://schemas.openxmlformats.org/officeDocument/2006/relationships/image" Target="../media/image14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0.svg"/><Relationship Id="rId12" Type="http://schemas.openxmlformats.org/officeDocument/2006/relationships/image" Target="../media/image24.svg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8.svg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4" Type="http://schemas.openxmlformats.org/officeDocument/2006/relationships/image" Target="../media/image17.emf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4.svg"/><Relationship Id="rId18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7.png"/><Relationship Id="rId1" Type="http://schemas.openxmlformats.org/officeDocument/2006/relationships/tags" Target="../tags/tag4.xml"/><Relationship Id="rId6" Type="http://schemas.openxmlformats.org/officeDocument/2006/relationships/image" Target="../media/image33.png"/><Relationship Id="rId11" Type="http://schemas.openxmlformats.org/officeDocument/2006/relationships/image" Target="../media/image22.svg"/><Relationship Id="rId5" Type="http://schemas.openxmlformats.org/officeDocument/2006/relationships/image" Target="../media/image32.emf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19" Type="http://schemas.openxmlformats.org/officeDocument/2006/relationships/image" Target="../media/image14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svg"/><Relationship Id="rId1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7.svg"/><Relationship Id="rId12" Type="http://schemas.openxmlformats.org/officeDocument/2006/relationships/image" Target="../media/image4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36.png"/><Relationship Id="rId11" Type="http://schemas.openxmlformats.org/officeDocument/2006/relationships/image" Target="../media/image39.png"/><Relationship Id="rId5" Type="http://schemas.openxmlformats.org/officeDocument/2006/relationships/image" Target="../media/image35.png"/><Relationship Id="rId10" Type="http://schemas.openxmlformats.org/officeDocument/2006/relationships/image" Target="../media/image38.png"/><Relationship Id="rId4" Type="http://schemas.openxmlformats.org/officeDocument/2006/relationships/image" Target="../media/image34.emf"/><Relationship Id="rId9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43.png"/><Relationship Id="rId5" Type="http://schemas.openxmlformats.org/officeDocument/2006/relationships/image" Target="../media/image42.jpg"/><Relationship Id="rId4" Type="http://schemas.openxmlformats.org/officeDocument/2006/relationships/image" Target="../media/image4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48.jpg"/><Relationship Id="rId5" Type="http://schemas.openxmlformats.org/officeDocument/2006/relationships/image" Target="../media/image47.emf"/><Relationship Id="rId10" Type="http://schemas.openxmlformats.org/officeDocument/2006/relationships/image" Target="../media/image50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0" y="4167483"/>
            <a:ext cx="6691745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49DBDD9-817D-D00B-B453-5F1EB52ABEF5}"/>
              </a:ext>
            </a:extLst>
          </p:cNvPr>
          <p:cNvGrpSpPr/>
          <p:nvPr/>
        </p:nvGrpSpPr>
        <p:grpSpPr>
          <a:xfrm>
            <a:off x="9253594" y="304800"/>
            <a:ext cx="1316381" cy="935620"/>
            <a:chOff x="1235124" y="2826327"/>
            <a:chExt cx="1316381" cy="935620"/>
          </a:xfrm>
        </p:grpSpPr>
        <p:pic>
          <p:nvPicPr>
            <p:cNvPr id="7" name="Picture 2" descr="Eine Übersicht über unser Engagement - Smiling Gecko">
              <a:extLst>
                <a:ext uri="{FF2B5EF4-FFF2-40B4-BE49-F238E27FC236}">
                  <a16:creationId xmlns:a16="http://schemas.microsoft.com/office/drawing/2014/main" id="{E5AC2B78-1C3B-18E4-06B8-19F6C51FFF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5124" y="2826327"/>
              <a:ext cx="819968" cy="9356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E7DEEC5-5230-0F63-9D5C-650A930ACBAE}"/>
                </a:ext>
              </a:extLst>
            </p:cNvPr>
            <p:cNvSpPr txBox="1"/>
            <p:nvPr/>
          </p:nvSpPr>
          <p:spPr>
            <a:xfrm>
              <a:off x="2230583" y="3057247"/>
              <a:ext cx="32092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>
                  <a:solidFill>
                    <a:schemeClr val="bg1">
                      <a:lumMod val="50000"/>
                    </a:schemeClr>
                  </a:solidFill>
                </a:rPr>
                <a:t>x</a:t>
              </a:r>
            </a:p>
          </p:txBody>
        </p:sp>
      </p:grpSp>
      <p:pic>
        <p:nvPicPr>
          <p:cNvPr id="5122" name="Picture 2">
            <a:extLst>
              <a:ext uri="{FF2B5EF4-FFF2-40B4-BE49-F238E27FC236}">
                <a16:creationId xmlns:a16="http://schemas.microsoft.com/office/drawing/2014/main" id="{27223FC5-D3B7-41D8-DBC6-DA9C7A4041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3573" y="619170"/>
            <a:ext cx="1237038" cy="29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47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ctiviti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86885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Gras, Luftfotografie, Baum, Pflanze enthält.&#10;&#10;Automatisch generierte Beschreibung">
            <a:extLst>
              <a:ext uri="{FF2B5EF4-FFF2-40B4-BE49-F238E27FC236}">
                <a16:creationId xmlns:a16="http://schemas.microsoft.com/office/drawing/2014/main" id="{CB147616-5B00-FA6E-2AF1-22F23495E62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8202"/>
          <a:stretch/>
        </p:blipFill>
        <p:spPr>
          <a:xfrm>
            <a:off x="0" y="1"/>
            <a:ext cx="6096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7986531" y="2624535"/>
            <a:ext cx="3864573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Nurturing food security through a holistic approach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 resilience and drive lasting nationwide impact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51868" y="1568688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4117474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818883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3413769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0862" y="2713924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FF70A-4358-57F4-4A8D-A73E393C0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DF2FC78-BB86-303E-EB94-49C29F8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2257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F2FC78-BB86-303E-EB94-49C29F8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Ein Bild, das Himmel, Hochhaus, Metropolregion, Metropole enthält.&#10;&#10;Automatisch generierte Beschreibung">
            <a:extLst>
              <a:ext uri="{FF2B5EF4-FFF2-40B4-BE49-F238E27FC236}">
                <a16:creationId xmlns:a16="http://schemas.microsoft.com/office/drawing/2014/main" id="{1D29DB6A-A264-BE19-0159-8066183C6EA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681"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981EECB-6399-5D07-1167-A50D3CA04BF2}"/>
              </a:ext>
            </a:extLst>
          </p:cNvPr>
          <p:cNvSpPr txBox="1"/>
          <p:nvPr/>
        </p:nvSpPr>
        <p:spPr>
          <a:xfrm>
            <a:off x="7442538" y="1973066"/>
            <a:ext cx="4598148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cu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unding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reas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</a:t>
            </a:r>
          </a:p>
          <a:p>
            <a:pPr>
              <a:spcAft>
                <a:spcPts val="1200"/>
              </a:spcAft>
            </a:pP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usinesses</a:t>
            </a: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e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aningful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trengthe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7B96B749-2CE3-C000-1689-CD46C9201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58613"/>
              </p:ext>
            </p:extLst>
          </p:nvPr>
        </p:nvGraphicFramePr>
        <p:xfrm>
          <a:off x="7235843" y="3074491"/>
          <a:ext cx="471213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427">
                  <a:extLst>
                    <a:ext uri="{9D8B030D-6E8A-4147-A177-3AD203B41FA5}">
                      <a16:colId xmlns:a16="http://schemas.microsoft.com/office/drawing/2014/main" val="3738592236"/>
                    </a:ext>
                  </a:extLst>
                </a:gridCol>
                <a:gridCol w="942427">
                  <a:extLst>
                    <a:ext uri="{9D8B030D-6E8A-4147-A177-3AD203B41FA5}">
                      <a16:colId xmlns:a16="http://schemas.microsoft.com/office/drawing/2014/main" val="1759669656"/>
                    </a:ext>
                  </a:extLst>
                </a:gridCol>
                <a:gridCol w="942427">
                  <a:extLst>
                    <a:ext uri="{9D8B030D-6E8A-4147-A177-3AD203B41FA5}">
                      <a16:colId xmlns:a16="http://schemas.microsoft.com/office/drawing/2014/main" val="971623033"/>
                    </a:ext>
                  </a:extLst>
                </a:gridCol>
                <a:gridCol w="942427">
                  <a:extLst>
                    <a:ext uri="{9D8B030D-6E8A-4147-A177-3AD203B41FA5}">
                      <a16:colId xmlns:a16="http://schemas.microsoft.com/office/drawing/2014/main" val="4065751505"/>
                    </a:ext>
                  </a:extLst>
                </a:gridCol>
                <a:gridCol w="942427">
                  <a:extLst>
                    <a:ext uri="{9D8B030D-6E8A-4147-A177-3AD203B41FA5}">
                      <a16:colId xmlns:a16="http://schemas.microsoft.com/office/drawing/2014/main" val="4224803123"/>
                    </a:ext>
                  </a:extLst>
                </a:gridCol>
              </a:tblGrid>
              <a:tr h="220619">
                <a:tc>
                  <a:txBody>
                    <a:bodyPr/>
                    <a:lstStyle/>
                    <a:p>
                      <a:pPr algn="ctr"/>
                      <a:r>
                        <a:rPr lang="de-CH" sz="10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cs typeface="Arial" panose="020B0604020202020204" pitchFamily="34" charset="0"/>
                        </a:rPr>
                        <a:t>Employment</a:t>
                      </a:r>
                      <a:endParaRPr lang="de-DE" sz="10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</a:rPr>
                        <a:t>Educati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</a:rPr>
                        <a:t>Communit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</a:rPr>
                        <a:t>Basic Need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</a:rPr>
                        <a:t>Agriculture</a:t>
                      </a:r>
                      <a:endParaRPr lang="de-DE" sz="10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211350"/>
                  </a:ext>
                </a:extLst>
              </a:tr>
            </a:tbl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F92F7AD7-C385-2104-E010-AF51D8DEC32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2005BC-5F12-71B8-AE46-E7DC03725303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B5CF7C4-FC83-C099-C738-A4519A67C2E2}"/>
              </a:ext>
            </a:extLst>
          </p:cNvPr>
          <p:cNvSpPr txBox="1"/>
          <p:nvPr/>
        </p:nvSpPr>
        <p:spPr>
          <a:xfrm>
            <a:off x="5327841" y="3013502"/>
            <a:ext cx="1536319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arget</a:t>
            </a: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Audience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9" name="Grafik 8" descr="Volltreffer mit einfarbiger Füllung">
            <a:extLst>
              <a:ext uri="{FF2B5EF4-FFF2-40B4-BE49-F238E27FC236}">
                <a16:creationId xmlns:a16="http://schemas.microsoft.com/office/drawing/2014/main" id="{E3266A04-270D-0CBA-5A14-8081D22EB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9553" y="421606"/>
            <a:ext cx="718975" cy="718975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69D6F178-B01A-2586-92E1-4908B045F69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62A9D80-B88E-C1CE-D6A0-6A1F80250D08}"/>
              </a:ext>
            </a:extLst>
          </p:cNvPr>
          <p:cNvSpPr txBox="1"/>
          <p:nvPr/>
        </p:nvSpPr>
        <p:spPr>
          <a:xfrm>
            <a:off x="7442538" y="1271786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28A7ED1-612D-024E-1E1B-C520B25B3D7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49094" y="2706784"/>
            <a:ext cx="313513" cy="3152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FD5422A-C4DB-9091-6DBD-8D59B475E3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39415" y="2723533"/>
            <a:ext cx="313513" cy="281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E7516D3-86D8-734D-EA63-BB42EE5FBA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84576" y="2754105"/>
            <a:ext cx="313512" cy="22061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D2FEC7D-BFF9-3E31-E435-307A25A3A12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329735" y="2705032"/>
            <a:ext cx="313512" cy="31351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5853A6A-E405-FBCB-7B61-F244F797B2D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494255" y="2742588"/>
            <a:ext cx="313512" cy="2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055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FB5B00D4-058B-A469-6757-8998A33F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b="1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b="1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b="1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b="1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802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 descr="Ein Bild, das Person, Fisch, Kleidung, draußen enthält.&#10;&#10;Automatisch generierte Beschreibung">
            <a:extLst>
              <a:ext uri="{FF2B5EF4-FFF2-40B4-BE49-F238E27FC236}">
                <a16:creationId xmlns:a16="http://schemas.microsoft.com/office/drawing/2014/main" id="{1A8F23D8-6355-6756-9AE4-00A59F91029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3286" b="3286"/>
          <a:stretch/>
        </p:blipFill>
        <p:spPr>
          <a:xfrm>
            <a:off x="6096000" y="0"/>
            <a:ext cx="6105961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416808" y="3013502"/>
            <a:ext cx="1358384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und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ap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CC6704-8E4D-7E43-DE30-4DE315C675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3850" y="420629"/>
            <a:ext cx="661087" cy="66108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BC81ACC-987A-F239-AC3B-98E643159800}"/>
              </a:ext>
            </a:extLst>
          </p:cNvPr>
          <p:cNvSpPr txBox="1"/>
          <p:nvPr/>
        </p:nvSpPr>
        <p:spPr>
          <a:xfrm>
            <a:off x="10037907" y="106967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77672" y="1382298"/>
            <a:ext cx="4578264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stablishes local fish hatcheries and grow-out farms to produce high-quality tilapi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2554888" y="594813"/>
            <a:ext cx="24368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ject </a:t>
            </a:r>
          </a:p>
          <a:p>
            <a:pPr algn="r"/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ocal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Fish Farm 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4AACFCC-EDFA-A594-2B8D-A02828D42689}"/>
              </a:ext>
            </a:extLst>
          </p:cNvPr>
          <p:cNvSpPr txBox="1"/>
          <p:nvPr/>
        </p:nvSpPr>
        <p:spPr>
          <a:xfrm>
            <a:off x="50619" y="4050662"/>
            <a:ext cx="4945131" cy="1990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  <a:spcAft>
                <a:spcPts val="1200"/>
              </a:spcAft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ircular economy by integrating organic farming and fish production</a:t>
            </a:r>
          </a:p>
          <a:p>
            <a:pPr algn="r">
              <a:lnSpc>
                <a:spcPts val="2500"/>
              </a:lnSpc>
              <a:spcAft>
                <a:spcPts val="1200"/>
              </a:spcAft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mproving both food security and farmer incomes</a:t>
            </a:r>
          </a:p>
          <a:p>
            <a:pPr marL="0" indent="0" algn="r">
              <a:lnSpc>
                <a:spcPts val="2500"/>
              </a:lnSpc>
              <a:spcAft>
                <a:spcPts val="1200"/>
              </a:spcAft>
              <a:buNone/>
            </a:pPr>
            <a:endParaRPr lang="en-GB" sz="1800" b="1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486365" y="3588997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670063" y="2835744"/>
            <a:ext cx="4266477" cy="400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0’000 $ commitment each year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4" t="25763" r="74344" b="54836"/>
          <a:stretch/>
        </p:blipFill>
        <p:spPr bwMode="auto">
          <a:xfrm>
            <a:off x="536370" y="5694993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825065" y="2345673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23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344D0FE-0C61-6D07-25E8-332D15B77C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27" t="48974" r="62071" b="31625"/>
          <a:stretch/>
        </p:blipFill>
        <p:spPr bwMode="auto">
          <a:xfrm>
            <a:off x="1901269" y="569766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49" t="25765" r="62449" b="54834"/>
          <a:stretch/>
        </p:blipFill>
        <p:spPr bwMode="auto">
          <a:xfrm>
            <a:off x="1218714" y="569766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58C372C1-DBEC-0E96-C53B-45ABB52F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31" t="48501" r="27267" b="32098"/>
          <a:stretch/>
        </p:blipFill>
        <p:spPr bwMode="auto">
          <a:xfrm>
            <a:off x="2587160" y="569766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E69F3CBC-6CFC-43D9-734E-4F486BEC57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63" t="71843" r="62135" b="8756"/>
          <a:stretch/>
        </p:blipFill>
        <p:spPr bwMode="auto">
          <a:xfrm>
            <a:off x="3958942" y="569766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1B87014-BCC1-C74C-5542-9D74AFF30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93" t="49346" r="16205" b="31253"/>
          <a:stretch/>
        </p:blipFill>
        <p:spPr bwMode="auto">
          <a:xfrm>
            <a:off x="3273051" y="569766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19036C1D-EB22-ED1D-39FF-52349664BA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51" t="71302" r="27847" b="9297"/>
          <a:stretch/>
        </p:blipFill>
        <p:spPr bwMode="auto">
          <a:xfrm>
            <a:off x="4644833" y="569933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72222" y="6215758"/>
            <a:ext cx="575875" cy="47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37C3C0-B3D6-10DE-3EDF-54AD01577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6D5D3E4-F7F7-82CD-4374-AEEC653FCE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598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663115E-B82E-D705-CB66-9209ABC9EAC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809"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449AE97-76E5-69FB-55F4-8336B391B521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8D37814-F546-1877-14E4-F1B9ADCBF8A8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4A8ED33-613E-43D1-CD89-2819890129E3}"/>
              </a:ext>
            </a:extLst>
          </p:cNvPr>
          <p:cNvSpPr txBox="1"/>
          <p:nvPr/>
        </p:nvSpPr>
        <p:spPr>
          <a:xfrm>
            <a:off x="5281514" y="2828835"/>
            <a:ext cx="1628972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A Service </a:t>
            </a: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ompany</a:t>
            </a:r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C587245-380C-4599-F218-88A9AAAF69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18ED9FB-EF23-A2FA-3AE1-BE5A7B771A90}"/>
              </a:ext>
            </a:extLst>
          </p:cNvPr>
          <p:cNvSpPr txBox="1"/>
          <p:nvPr/>
        </p:nvSpPr>
        <p:spPr>
          <a:xfrm>
            <a:off x="7373495" y="1776845"/>
            <a:ext cx="4374612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fessional Video and Photography Content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Live Speaker Sessions with Smiling Gecko representatives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teractive Cooking Workshops featuring chefs from Cambodia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gular Reporting with KPIs and progress updates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us Tours and stay in the Farmhouse Resort &amp; Spa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lf-Promotion Initiatives to boost visibility and impac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8731C0-680A-4937-4472-D786DE83CF21}"/>
              </a:ext>
            </a:extLst>
          </p:cNvPr>
          <p:cNvSpPr txBox="1"/>
          <p:nvPr/>
        </p:nvSpPr>
        <p:spPr>
          <a:xfrm>
            <a:off x="7373495" y="958050"/>
            <a:ext cx="327852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2642202-CBB1-6AE8-0E39-BEC724189F7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83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7EA98-EC35-37FD-51FA-2BE862818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8BA6E8A-3080-BBC3-9D17-FD4597CDA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3094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BA6E8A-3080-BBC3-9D17-FD4597CDA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56A18B21-1DB1-95C9-5BAA-E890A2F13E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E003664-25AE-E2FD-2816-49BBC7314D5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3BCD89D-9714-879B-7E4A-CC8639D836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7172926-C3A8-740A-51AB-93CEF2655944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5ED560B-C71D-C379-F3F3-F7D82969AC74}"/>
              </a:ext>
            </a:extLst>
          </p:cNvPr>
          <p:cNvSpPr txBox="1"/>
          <p:nvPr/>
        </p:nvSpPr>
        <p:spPr>
          <a:xfrm>
            <a:off x="5281514" y="2828835"/>
            <a:ext cx="1628972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A Service </a:t>
            </a: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ompany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7057118-EDDF-81FE-A4F7-D2DD03BA0FD3}"/>
              </a:ext>
            </a:extLst>
          </p:cNvPr>
          <p:cNvSpPr/>
          <p:nvPr/>
        </p:nvSpPr>
        <p:spPr>
          <a:xfrm>
            <a:off x="356836" y="4965668"/>
            <a:ext cx="2322864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armhouse Resort </a:t>
            </a:r>
          </a:p>
          <a:p>
            <a:pPr algn="ctr"/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&amp; Spa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4EA42CA-6A08-AF0F-2EB0-DFCB5BA9506E}"/>
              </a:ext>
            </a:extLst>
          </p:cNvPr>
          <p:cNvSpPr/>
          <p:nvPr/>
        </p:nvSpPr>
        <p:spPr>
          <a:xfrm>
            <a:off x="3392922" y="4965636"/>
            <a:ext cx="2322864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fessional Video Conten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7D665F2-6EA6-AF0D-D8D3-34685E7C6D75}"/>
              </a:ext>
            </a:extLst>
          </p:cNvPr>
          <p:cNvSpPr/>
          <p:nvPr/>
        </p:nvSpPr>
        <p:spPr>
          <a:xfrm>
            <a:off x="6440923" y="4965636"/>
            <a:ext cx="2322864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oking Workshops with our chef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8BD2314-A3BA-FB17-8D73-5FA36D72954E}"/>
              </a:ext>
            </a:extLst>
          </p:cNvPr>
          <p:cNvSpPr/>
          <p:nvPr/>
        </p:nvSpPr>
        <p:spPr>
          <a:xfrm>
            <a:off x="9495107" y="4965636"/>
            <a:ext cx="2322864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esting your newest products on campus</a:t>
            </a:r>
          </a:p>
        </p:txBody>
      </p:sp>
      <p:pic>
        <p:nvPicPr>
          <p:cNvPr id="6" name="Grafik 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CBDA3F3C-BCAB-78EE-2830-07FE485F43C9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023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1154856" y="4070740"/>
            <a:ext cx="2106122" cy="2145018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1985021" y="2777055"/>
            <a:ext cx="2106122" cy="2145018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2736886" y="4070740"/>
            <a:ext cx="2106122" cy="2145018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08D943C-1CF7-6ACE-E098-26B51CF2A313}"/>
              </a:ext>
            </a:extLst>
          </p:cNvPr>
          <p:cNvGrpSpPr/>
          <p:nvPr/>
        </p:nvGrpSpPr>
        <p:grpSpPr>
          <a:xfrm>
            <a:off x="1154855" y="4705659"/>
            <a:ext cx="2106123" cy="875180"/>
            <a:chOff x="1154854" y="4834721"/>
            <a:chExt cx="2106123" cy="87518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9618CAB6-A9BD-1C21-F6FF-B5FF5A15578E}"/>
                </a:ext>
              </a:extLst>
            </p:cNvPr>
            <p:cNvSpPr/>
            <p:nvPr/>
          </p:nvSpPr>
          <p:spPr>
            <a:xfrm>
              <a:off x="1154855" y="5202234"/>
              <a:ext cx="2106122" cy="5076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dirty="0">
                  <a:latin typeface="Avenir Medium" panose="02000503020000020003" pitchFamily="2" charset="0"/>
                </a:rPr>
                <a:t>NGO</a:t>
              </a:r>
              <a:endParaRPr lang="de-DE" dirty="0">
                <a:latin typeface="Avenir Medium" panose="02000503020000020003" pitchFamily="2" charset="0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7538A03D-C57B-4338-5C64-B9BC33863A79}"/>
                </a:ext>
              </a:extLst>
            </p:cNvPr>
            <p:cNvSpPr txBox="1"/>
            <p:nvPr/>
          </p:nvSpPr>
          <p:spPr>
            <a:xfrm>
              <a:off x="1154854" y="4834721"/>
              <a:ext cx="2106122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2800" b="1" dirty="0">
                  <a:solidFill>
                    <a:schemeClr val="bg1"/>
                  </a:solidFill>
                  <a:latin typeface="Avenir Black" panose="02000503020000020003" pitchFamily="2" charset="0"/>
                </a:rPr>
                <a:t>1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C34FBBD-AAA5-4EC1-549F-E594BB4E216F}"/>
              </a:ext>
            </a:extLst>
          </p:cNvPr>
          <p:cNvGrpSpPr/>
          <p:nvPr/>
        </p:nvGrpSpPr>
        <p:grpSpPr>
          <a:xfrm>
            <a:off x="1985021" y="3176832"/>
            <a:ext cx="2106122" cy="1018012"/>
            <a:chOff x="1985021" y="2944880"/>
            <a:chExt cx="2106122" cy="101801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82C04C6-F899-93E1-1E39-4D85335EB0F3}"/>
                </a:ext>
              </a:extLst>
            </p:cNvPr>
            <p:cNvSpPr/>
            <p:nvPr/>
          </p:nvSpPr>
          <p:spPr>
            <a:xfrm>
              <a:off x="1985021" y="3455225"/>
              <a:ext cx="2106122" cy="5076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dirty="0" err="1">
                  <a:latin typeface="Avenir Medium" panose="02000503020000020003" pitchFamily="2" charset="0"/>
                </a:rPr>
                <a:t>Social</a:t>
              </a:r>
              <a:endParaRPr lang="de-DE" sz="2000" dirty="0">
                <a:latin typeface="Avenir Medium" panose="02000503020000020003" pitchFamily="2" charset="0"/>
              </a:endParaRPr>
            </a:p>
            <a:p>
              <a:pPr algn="ctr"/>
              <a:r>
                <a:rPr lang="de-DE" sz="2000" dirty="0">
                  <a:latin typeface="Avenir Medium" panose="02000503020000020003" pitchFamily="2" charset="0"/>
                </a:rPr>
                <a:t>Enterprise</a:t>
              </a:r>
              <a:endParaRPr lang="de-DE" dirty="0">
                <a:latin typeface="Avenir Medium" panose="02000503020000020003" pitchFamily="2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B3EBDC3-A9DA-7FC5-4951-A9B293D7AC7D}"/>
                </a:ext>
              </a:extLst>
            </p:cNvPr>
            <p:cNvSpPr txBox="1"/>
            <p:nvPr/>
          </p:nvSpPr>
          <p:spPr>
            <a:xfrm>
              <a:off x="1985021" y="2944880"/>
              <a:ext cx="2106122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2800" b="1" dirty="0">
                  <a:solidFill>
                    <a:schemeClr val="bg1"/>
                  </a:solidFill>
                  <a:latin typeface="Avenir Black" panose="02000503020000020003" pitchFamily="2" charset="0"/>
                </a:rPr>
                <a:t>2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4451047-062B-687A-6973-39785AF9DD6F}"/>
              </a:ext>
            </a:extLst>
          </p:cNvPr>
          <p:cNvGrpSpPr/>
          <p:nvPr/>
        </p:nvGrpSpPr>
        <p:grpSpPr>
          <a:xfrm>
            <a:off x="2729495" y="4652707"/>
            <a:ext cx="2120904" cy="981083"/>
            <a:chOff x="2736885" y="4834721"/>
            <a:chExt cx="2120904" cy="981083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FCE8FB8-2BA9-E75E-D026-B5CF1AB23B46}"/>
                </a:ext>
              </a:extLst>
            </p:cNvPr>
            <p:cNvSpPr/>
            <p:nvPr/>
          </p:nvSpPr>
          <p:spPr>
            <a:xfrm>
              <a:off x="2736887" y="5096331"/>
              <a:ext cx="2106122" cy="7194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dirty="0">
                  <a:latin typeface="Avenir Medium" panose="02000503020000020003" pitchFamily="2" charset="0"/>
                </a:rPr>
                <a:t>Company</a:t>
              </a:r>
              <a:endParaRPr lang="de-DE" dirty="0">
                <a:latin typeface="Avenir Medium" panose="02000503020000020003" pitchFamily="2" charset="0"/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8841690D-5A74-00A3-D19E-EBE200B183BB}"/>
                </a:ext>
              </a:extLst>
            </p:cNvPr>
            <p:cNvSpPr txBox="1"/>
            <p:nvPr/>
          </p:nvSpPr>
          <p:spPr>
            <a:xfrm>
              <a:off x="2736885" y="4834721"/>
              <a:ext cx="2120904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2800" b="1" dirty="0">
                  <a:solidFill>
                    <a:schemeClr val="bg1"/>
                  </a:solidFill>
                  <a:latin typeface="Avenir Black" panose="02000503020000020003" pitchFamily="2" charset="0"/>
                </a:rPr>
                <a:t>3</a:t>
              </a: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153626" y="3013502"/>
            <a:ext cx="188474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ommercial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D02BF700-5140-DBFF-3D35-13C627582C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7363" y="4458157"/>
            <a:ext cx="543614" cy="452623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6300A2C-1DBB-BBC0-8134-C09DC1DC02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72222" y="6215758"/>
            <a:ext cx="575875" cy="479484"/>
          </a:xfrm>
          <a:prstGeom prst="rect">
            <a:avLst/>
          </a:prstGeom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477672" y="1382298"/>
            <a:ext cx="4578264" cy="136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generate revenue for the entire business while attracting external investments to scale and replicate the model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57190" y="872030"/>
            <a:ext cx="2125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6</Words>
  <Application>Microsoft Macintosh PowerPoint</Application>
  <PresentationFormat>Breitbild</PresentationFormat>
  <Paragraphs>106</Paragraphs>
  <Slides>12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Aptos</vt:lpstr>
      <vt:lpstr>Aptos Display</vt:lpstr>
      <vt:lpstr>Arial</vt:lpstr>
      <vt:lpstr>Avenir Black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30</cp:revision>
  <dcterms:created xsi:type="dcterms:W3CDTF">2024-11-24T12:40:33Z</dcterms:created>
  <dcterms:modified xsi:type="dcterms:W3CDTF">2024-12-05T17:32:42Z</dcterms:modified>
</cp:coreProperties>
</file>